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tags/tag10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0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theme/themeOverride2.xml" ContentType="application/vnd.openxmlformats-officedocument.themeOverride+xml"/>
  <Override PartName="/ppt/charts/chart10.xml" ContentType="application/vnd.openxmlformats-officedocument.drawingml.chart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0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9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0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0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1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10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2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0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07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5" r:id="rId1"/>
    <p:sldMasterId id="2147483700" r:id="rId2"/>
  </p:sldMasterIdLst>
  <p:notesMasterIdLst>
    <p:notesMasterId r:id="rId37"/>
  </p:notesMasterIdLst>
  <p:handoutMasterIdLst>
    <p:handoutMasterId r:id="rId38"/>
  </p:handoutMasterIdLst>
  <p:sldIdLst>
    <p:sldId id="261" r:id="rId3"/>
    <p:sldId id="446" r:id="rId4"/>
    <p:sldId id="716" r:id="rId5"/>
    <p:sldId id="717" r:id="rId6"/>
    <p:sldId id="833" r:id="rId7"/>
    <p:sldId id="834" r:id="rId8"/>
    <p:sldId id="721" r:id="rId9"/>
    <p:sldId id="835" r:id="rId10"/>
    <p:sldId id="836" r:id="rId11"/>
    <p:sldId id="649" r:id="rId12"/>
    <p:sldId id="648" r:id="rId13"/>
    <p:sldId id="480" r:id="rId14"/>
    <p:sldId id="612" r:id="rId15"/>
    <p:sldId id="500" r:id="rId16"/>
    <p:sldId id="503" r:id="rId17"/>
    <p:sldId id="837" r:id="rId18"/>
    <p:sldId id="759" r:id="rId19"/>
    <p:sldId id="613" r:id="rId20"/>
    <p:sldId id="490" r:id="rId21"/>
    <p:sldId id="827" r:id="rId22"/>
    <p:sldId id="838" r:id="rId23"/>
    <p:sldId id="829" r:id="rId24"/>
    <p:sldId id="616" r:id="rId25"/>
    <p:sldId id="824" r:id="rId26"/>
    <p:sldId id="617" r:id="rId27"/>
    <p:sldId id="530" r:id="rId28"/>
    <p:sldId id="830" r:id="rId29"/>
    <p:sldId id="621" r:id="rId30"/>
    <p:sldId id="826" r:id="rId31"/>
    <p:sldId id="831" r:id="rId32"/>
    <p:sldId id="622" r:id="rId33"/>
    <p:sldId id="766" r:id="rId34"/>
    <p:sldId id="832" r:id="rId35"/>
    <p:sldId id="623" r:id="rId36"/>
  </p:sldIdLst>
  <p:sldSz cx="9144000" cy="6858000" type="screen4x3"/>
  <p:notesSz cx="6980238" cy="9144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9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e Butler" initials="KB" lastIdx="51" clrIdx="0"/>
  <p:cmAuthor id="7" name="Tshegofatso Mmuoe" initials="TM" lastIdx="11" clrIdx="7">
    <p:extLst>
      <p:ext uri="{19B8F6BF-5375-455C-9EA6-DF929625EA0E}">
        <p15:presenceInfo xmlns:p15="http://schemas.microsoft.com/office/powerpoint/2012/main" userId="S-1-5-21-3528385313-3887411669-492545649-198013" providerId="AD"/>
      </p:ext>
    </p:extLst>
  </p:cmAuthor>
  <p:cmAuthor id="1" name="Clayton C Thomopoulos" initials="CT" lastIdx="11" clrIdx="1"/>
  <p:cmAuthor id="2" name="Soofiya Khan" initials="SK" lastIdx="17" clrIdx="2"/>
  <p:cmAuthor id="3" name="Khan, Soofiya (ZA - Cape Town)" initials="KS(-CT" lastIdx="1" clrIdx="3">
    <p:extLst/>
  </p:cmAuthor>
  <p:cmAuthor id="4" name="Ruthven Janse van Rensburg" initials="RJvR" lastIdx="41" clrIdx="4">
    <p:extLst>
      <p:ext uri="{19B8F6BF-5375-455C-9EA6-DF929625EA0E}">
        <p15:presenceInfo xmlns:p15="http://schemas.microsoft.com/office/powerpoint/2012/main" userId="S-1-5-21-3528385313-3887411669-492545649-118323" providerId="AD"/>
      </p:ext>
    </p:extLst>
  </p:cmAuthor>
  <p:cmAuthor id="5" name="Erica Knight" initials="EK" lastIdx="70" clrIdx="5">
    <p:extLst>
      <p:ext uri="{19B8F6BF-5375-455C-9EA6-DF929625EA0E}">
        <p15:presenceInfo xmlns:p15="http://schemas.microsoft.com/office/powerpoint/2012/main" userId="S-1-5-21-3528385313-3887411669-492545649-10881" providerId="AD"/>
      </p:ext>
    </p:extLst>
  </p:cmAuthor>
  <p:cmAuthor id="6" name="Wendy J Hansby" initials="WJH" lastIdx="26" clrIdx="6">
    <p:extLst>
      <p:ext uri="{19B8F6BF-5375-455C-9EA6-DF929625EA0E}">
        <p15:presenceInfo xmlns:p15="http://schemas.microsoft.com/office/powerpoint/2012/main" userId="S-1-5-21-3528385313-3887411669-492545649-264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9B"/>
    <a:srgbClr val="B512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37" autoAdjust="0"/>
    <p:restoredTop sz="92621" autoAdjust="0"/>
  </p:normalViewPr>
  <p:slideViewPr>
    <p:cSldViewPr>
      <p:cViewPr varScale="1">
        <p:scale>
          <a:sx n="114" d="100"/>
          <a:sy n="114" d="100"/>
        </p:scale>
        <p:origin x="1500" y="108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120" d="100"/>
          <a:sy n="120" d="100"/>
        </p:scale>
        <p:origin x="590" y="-2251"/>
      </p:cViewPr>
      <p:guideLst>
        <p:guide orient="horz" pos="2880"/>
        <p:guide pos="219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gs" Target="tags/tag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SCOPA\7.%202019_2020\1.%20Data\20190930%20Master%20Recommendations_Q2%2019_20%20v1_SCOPA.xlsx" TargetMode="External"/><Relationship Id="rId1" Type="http://schemas.openxmlformats.org/officeDocument/2006/relationships/themeOverride" Target="../theme/themeOverride3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Recommendations_for%20Q1%20&amp;%20Q2_SCOPA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SCOPA\7.%202019_2020\1.%20Data\20190930%20Master%20Recommendations_Q2%2019_20%20v1_SCOPA.xlsx" TargetMode="External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Recommendations_for%20Q1%20&amp;%20Q2_SCOP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200331%20Master%20Recommendations_Q4%2019_20%20v2_SCOP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55315704\Documents\SCOPA\7.%202019_2020\1.%20Data\20190930%20Sept%20Case%20list%20V1_SCOP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1.%20Data\2.%20Recommendations\2.%20Master%20SCOPA%20recomm\20180124%20Master%20Recommendations_SCOPA%20Q2%20Q3_17.18%20v3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Q1 &amp; Q2 19.20 SCOPA all!PivotTable2</c:name>
    <c:fmtId val="9"/>
  </c:pivotSource>
  <c:chart>
    <c:autoTitleDeleted val="1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Q1 &amp; Q2 19.20 SCOPA all'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1 &amp; Q2 19.20 SCOPA all'!$A$163:$A$173</c:f>
              <c:strCache>
                <c:ptCount val="10"/>
                <c:pt idx="0">
                  <c:v>Corruption, extortion and theft </c:v>
                </c:pt>
                <c:pt idx="1">
                  <c:v>Corruption, Fraud</c:v>
                </c:pt>
                <c:pt idx="2">
                  <c:v>Fraud and/or Corruption, Irregularity and/or Non-Compliance</c:v>
                </c:pt>
                <c:pt idx="3">
                  <c:v>Fraud, Corruption, Other</c:v>
                </c:pt>
                <c:pt idx="4">
                  <c:v>Fraud, Other</c:v>
                </c:pt>
                <c:pt idx="5">
                  <c:v>Investigation with no adverse findings</c:v>
                </c:pt>
                <c:pt idx="6">
                  <c:v>Investigation with no adverse findings but with recommendations</c:v>
                </c:pt>
                <c:pt idx="7">
                  <c:v>Irregularity </c:v>
                </c:pt>
                <c:pt idx="8">
                  <c:v>Irregularity and/or Non-Compliance</c:v>
                </c:pt>
                <c:pt idx="9">
                  <c:v>Non-compliance</c:v>
                </c:pt>
              </c:strCache>
            </c:strRef>
          </c:cat>
          <c:val>
            <c:numRef>
              <c:f>'Q1 &amp; Q2 19.20 SCOPA all'!$B$163:$B$173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95-4D34-A8E1-C53D1E8888C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20190930 Master Recommendations_Q2 19_20 v1_SCOPA.xlsx]WCED!PivotTable13</c:name>
    <c:fmtId val="9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</c:pivotFmts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513407008432112"/>
          <c:y val="0.24665228848512294"/>
          <c:w val="0.48852297899181207"/>
          <c:h val="0.73529998308913636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0088681002029789"/>
          <c:y val="4.7837247497866048E-3"/>
          <c:w val="0.41483346988651637"/>
          <c:h val="0.29740174858254564"/>
        </c:manualLayout>
      </c:layout>
      <c:overlay val="0"/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WCED!PivotTable16</c:name>
    <c:fmtId val="14"/>
  </c:pivotSource>
  <c:chart>
    <c:autoTitleDeleted val="1"/>
    <c:pivotFmts>
      <c:pivotFmt>
        <c:idx val="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05552152280775"/>
          <c:y val="0.14519010603185037"/>
          <c:w val="0.60704328467480462"/>
          <c:h val="0.7643746400264994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WCED!$M$237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FDF-456C-989D-868E80D453C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FDF-456C-989D-868E80D453C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WCED!$L$238:$L$240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WCED!$M$238:$M$240</c:f>
              <c:numCache>
                <c:formatCode>General</c:formatCode>
                <c:ptCount val="2"/>
                <c:pt idx="0">
                  <c:v>5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FDF-456C-989D-868E80D453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705242479"/>
        <c:axId val="705241647"/>
      </c:barChart>
      <c:valAx>
        <c:axId val="7052416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5242479"/>
        <c:crosses val="autoZero"/>
        <c:crossBetween val="between"/>
      </c:valAx>
      <c:catAx>
        <c:axId val="7052424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052416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Recommendations_for Q1 &amp; Q2_SCOPA.xlsx]WCED!PivotTable13</c:name>
    <c:fmtId val="17"/>
  </c:pivotSource>
  <c:chart>
    <c:autoTitleDeleted val="1"/>
    <c:pivotFmts>
      <c:pivotFmt>
        <c:idx val="0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51271643617346219"/>
          <c:y val="0.14938112692965325"/>
          <c:w val="0.62871777370618298"/>
          <c:h val="0.671361520754762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WCED!$M$90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30-42B6-B6CD-210656E1A21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30-42B6-B6CD-210656E1A21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C30-42B6-B6CD-210656E1A21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WCED!$L$91:$L$93</c:f>
              <c:strCache>
                <c:ptCount val="2"/>
                <c:pt idx="0">
                  <c:v>Recommendation not implementable</c:v>
                </c:pt>
                <c:pt idx="1">
                  <c:v>Recommendation implemented</c:v>
                </c:pt>
              </c:strCache>
            </c:strRef>
          </c:cat>
          <c:val>
            <c:numRef>
              <c:f>WCED!$M$91:$M$93</c:f>
              <c:numCache>
                <c:formatCode>General</c:formatCode>
                <c:ptCount val="2"/>
                <c:pt idx="0">
                  <c:v>3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30-42B6-B6CD-210656E1A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605967519"/>
        <c:axId val="605977087"/>
      </c:barChart>
      <c:valAx>
        <c:axId val="60597708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5967519"/>
        <c:crosses val="autoZero"/>
        <c:crossBetween val="between"/>
      </c:valAx>
      <c:catAx>
        <c:axId val="6059675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059770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WCED!PivotTable4</c:name>
    <c:fmtId val="14"/>
  </c:pivotSource>
  <c:chart>
    <c:autoTitleDeleted val="1"/>
    <c:pivotFmts>
      <c:pivotFmt>
        <c:idx val="0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</c:pivotFmt>
      <c:pivotFmt>
        <c:idx val="12"/>
      </c:pivotFmt>
      <c:pivotFmt>
        <c:idx val="13"/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</c:pivotFmt>
      <c:pivotFmt>
        <c:idx val="2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</c:pivotFmt>
      <c:pivotFmt>
        <c:idx val="2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</c:pivotFmt>
      <c:pivotFmt>
        <c:idx val="25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WCED!$M$128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WCED!$L$129:$L$133</c:f>
              <c:strCache>
                <c:ptCount val="4"/>
                <c:pt idx="0">
                  <c:v>Cautionary Letter</c:v>
                </c:pt>
                <c:pt idx="1">
                  <c:v>Final Written Warning and Suspended without pay (2 months) </c:v>
                </c:pt>
                <c:pt idx="2">
                  <c:v>Insufficient information on/evidence to warrant formal charges by DLR</c:v>
                </c:pt>
                <c:pt idx="3">
                  <c:v>Retired / Resigned / contract expired (no disciplinary action)</c:v>
                </c:pt>
              </c:strCache>
            </c:strRef>
          </c:cat>
          <c:val>
            <c:numRef>
              <c:f>WCED!$M$129:$M$133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D-4FFF-9CF7-51FAD2B4B9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43441024"/>
        <c:axId val="1"/>
      </c:barChart>
      <c:catAx>
        <c:axId val="24344102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43441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DTPW!PivotTable2</c:name>
    <c:fmtId val="11"/>
  </c:pivotSource>
  <c:chart>
    <c:autoTitleDeleted val="1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TPW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TPW!$A$163:$A$165</c:f>
              <c:strCache>
                <c:ptCount val="2"/>
                <c:pt idx="0">
                  <c:v>Corruption, Fraud</c:v>
                </c:pt>
                <c:pt idx="1">
                  <c:v>Fraud, Other</c:v>
                </c:pt>
              </c:strCache>
            </c:strRef>
          </c:cat>
          <c:val>
            <c:numRef>
              <c:f>DTPW!$B$163:$B$165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A1-439B-8E16-148C1016FC6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DTPW!PivotTable13</c:name>
    <c:fmtId val="15"/>
  </c:pivotSource>
  <c:chart>
    <c:autoTitleDeleted val="1"/>
    <c:pivotFmts>
      <c:pivotFmt>
        <c:idx val="0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51271643617346219"/>
          <c:y val="0.14938112692965325"/>
          <c:w val="0.62871777370618298"/>
          <c:h val="0.671361520754762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TPW!$M$90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116-445B-841E-CE650E43295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116-445B-841E-CE650E43295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116-445B-841E-CE650E43295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TPW!$L$91:$L$92</c:f>
              <c:strCache>
                <c:ptCount val="1"/>
                <c:pt idx="0">
                  <c:v>Recommendation implemented</c:v>
                </c:pt>
              </c:strCache>
            </c:strRef>
          </c:cat>
          <c:val>
            <c:numRef>
              <c:f>DTPW!$M$91:$M$9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16-445B-841E-CE650E4329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605967519"/>
        <c:axId val="605977087"/>
      </c:barChart>
      <c:valAx>
        <c:axId val="60597708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5967519"/>
        <c:crosses val="autoZero"/>
        <c:crossBetween val="between"/>
      </c:valAx>
      <c:catAx>
        <c:axId val="6059675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059770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DTPW!PivotTable16</c:name>
    <c:fmtId val="15"/>
  </c:pivotSource>
  <c:chart>
    <c:autoTitleDeleted val="1"/>
    <c:pivotFmts>
      <c:pivotFmt>
        <c:idx val="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05552152280775"/>
          <c:y val="0.14519010603185037"/>
          <c:w val="0.60704328467480462"/>
          <c:h val="0.7643746400264994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TPW!$M$237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6FC-4B5B-8A11-30271947456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6FC-4B5B-8A11-30271947456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TPW!$L$238:$L$240</c:f>
              <c:strCache>
                <c:ptCount val="2"/>
                <c:pt idx="0">
                  <c:v>Recommendation not implementable</c:v>
                </c:pt>
                <c:pt idx="1">
                  <c:v>Recommendation implemented</c:v>
                </c:pt>
              </c:strCache>
            </c:strRef>
          </c:cat>
          <c:val>
            <c:numRef>
              <c:f>DTPW!$M$238:$M$240</c:f>
              <c:numCache>
                <c:formatCode>General</c:formatCode>
                <c:ptCount val="2"/>
                <c:pt idx="0">
                  <c:v>1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FC-4B5B-8A11-3027194745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705242479"/>
        <c:axId val="705241647"/>
      </c:barChart>
      <c:valAx>
        <c:axId val="7052416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5242479"/>
        <c:crosses val="autoZero"/>
        <c:crossBetween val="between"/>
      </c:valAx>
      <c:catAx>
        <c:axId val="7052424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052416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DTPW!PivotTable14</c:name>
    <c:fmtId val="15"/>
  </c:pivotSource>
  <c:chart>
    <c:autoTitleDeleted val="1"/>
    <c:pivotFmts>
      <c:pivotFmt>
        <c:idx val="0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</c:pivotFmt>
      <c:pivotFmt>
        <c:idx val="1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053239083750889"/>
          <c:y val="0.24182073514471228"/>
          <c:w val="0.65814572894297307"/>
          <c:h val="0.6360453704394318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TPW!$M$32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6D9-47D8-89BF-30F7123F679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TPW!$L$330:$L$331</c:f>
              <c:strCache>
                <c:ptCount val="1"/>
                <c:pt idx="0">
                  <c:v>Recommendation implemented</c:v>
                </c:pt>
              </c:strCache>
            </c:strRef>
          </c:cat>
          <c:val>
            <c:numRef>
              <c:f>DTPW!$M$330:$M$33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D9-47D8-89BF-30F7123F67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740104575"/>
        <c:axId val="740104991"/>
      </c:barChart>
      <c:valAx>
        <c:axId val="74010499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40104575"/>
        <c:crosses val="autoZero"/>
        <c:crossBetween val="between"/>
      </c:valAx>
      <c:catAx>
        <c:axId val="7401045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4010499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DTPW!PivotTable4</c:name>
    <c:fmtId val="12"/>
  </c:pivotSource>
  <c:chart>
    <c:autoTitleDeleted val="1"/>
    <c:pivotFmts>
      <c:pivotFmt>
        <c:idx val="0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</c:pivotFmt>
      <c:pivotFmt>
        <c:idx val="12"/>
      </c:pivotFmt>
      <c:pivotFmt>
        <c:idx val="13"/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</c:pivotFmt>
      <c:pivotFmt>
        <c:idx val="2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</c:pivotFmt>
      <c:pivotFmt>
        <c:idx val="2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</c:pivotFmt>
      <c:pivotFmt>
        <c:idx val="25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2040676988255872"/>
          <c:y val="4.954954954954955E-2"/>
          <c:w val="0.76544932603603943"/>
          <c:h val="0.900900900900900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TPW!$M$128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TPW!$L$129:$L$130</c:f>
              <c:strCache>
                <c:ptCount val="1"/>
                <c:pt idx="0">
                  <c:v>Dismissal</c:v>
                </c:pt>
              </c:strCache>
            </c:strRef>
          </c:cat>
          <c:val>
            <c:numRef>
              <c:f>DTPW!$M$129:$M$13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28-430F-8A9F-17B9CF83FD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43441024"/>
        <c:axId val="1"/>
      </c:barChart>
      <c:catAx>
        <c:axId val="24344102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43441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DCAS!PivotTable2</c:name>
    <c:fmtId val="11"/>
  </c:pivotSource>
  <c:chart>
    <c:autoTitleDeleted val="1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CAS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CAS!$A$163:$A$164</c:f>
              <c:strCache>
                <c:ptCount val="1"/>
                <c:pt idx="0">
                  <c:v>Investigation with no adverse findings </c:v>
                </c:pt>
              </c:strCache>
            </c:strRef>
          </c:cat>
          <c:val>
            <c:numRef>
              <c:f>DCAS!$B$163:$B$16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44-4982-93F5-A8E792ADE38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20190930 Master Recommendations_Q2 19_20 v1_SCOPA.xlsx]Q2 19 20 HOD All !PivotTable13</c:name>
    <c:fmtId val="-1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100" baseline="0"/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</c:pivotFmts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078245274334598"/>
          <c:y val="0.15730240082273172"/>
          <c:w val="0.51974730982271822"/>
          <c:h val="0.7950302049885617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45937083379624494"/>
          <c:y val="9.0584938980105417E-2"/>
          <c:w val="0.40899258908341346"/>
          <c:h val="0.29740174858254564"/>
        </c:manualLayout>
      </c:layout>
      <c:overlay val="0"/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DHS!PivotTable2</c:name>
    <c:fmtId val="12"/>
  </c:pivotSource>
  <c:chart>
    <c:autoTitleDeleted val="1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HS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HS!$A$163:$A$165</c:f>
              <c:strCache>
                <c:ptCount val="2"/>
                <c:pt idx="0">
                  <c:v>Investigation with no adverse findings</c:v>
                </c:pt>
                <c:pt idx="1">
                  <c:v>Non-compliance</c:v>
                </c:pt>
              </c:strCache>
            </c:strRef>
          </c:cat>
          <c:val>
            <c:numRef>
              <c:f>DHS!$B$163:$B$165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1E-44EA-961D-31E86CD4427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DHS!PivotTable16</c:name>
    <c:fmtId val="14"/>
  </c:pivotSource>
  <c:chart>
    <c:autoTitleDeleted val="1"/>
    <c:pivotFmts>
      <c:pivotFmt>
        <c:idx val="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0641963420837948"/>
          <c:y val="0.14519010603185037"/>
          <c:w val="0.68960457359836347"/>
          <c:h val="0.7643746400264994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HS!$M$237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9A-423B-A27A-A1D258F7AAA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A9A-423B-A27A-A1D258F7AA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HS!$L$238:$L$239</c:f>
              <c:strCache>
                <c:ptCount val="1"/>
                <c:pt idx="0">
                  <c:v>Recommendation implemented</c:v>
                </c:pt>
              </c:strCache>
            </c:strRef>
          </c:cat>
          <c:val>
            <c:numRef>
              <c:f>DHS!$M$238:$M$239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9A-423B-A27A-A1D258F7A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705242479"/>
        <c:axId val="705241647"/>
      </c:barChart>
      <c:valAx>
        <c:axId val="7052416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5242479"/>
        <c:crosses val="autoZero"/>
        <c:crossBetween val="between"/>
      </c:valAx>
      <c:catAx>
        <c:axId val="7052424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052416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DEDAT!PivotTable2</c:name>
    <c:fmtId val="13"/>
  </c:pivotSource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EDAT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DAT!$A$163:$A$164</c:f>
              <c:strCache>
                <c:ptCount val="1"/>
                <c:pt idx="0">
                  <c:v>Irregularity </c:v>
                </c:pt>
              </c:strCache>
            </c:strRef>
          </c:cat>
          <c:val>
            <c:numRef>
              <c:f>DEDAT!$B$163:$B$16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CB-4AC8-A975-F4F08F64992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DEDAT!PivotTable16</c:name>
    <c:fmtId val="14"/>
  </c:pivotSource>
  <c:chart>
    <c:autoTitleDeleted val="1"/>
    <c:pivotFmts>
      <c:pivotFmt>
        <c:idx val="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0490553514514329"/>
          <c:y val="0.15487198761024099"/>
          <c:w val="0.60704328467480462"/>
          <c:h val="0.7643746400264994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EDAT!$M$237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815-4F74-9A8D-5D630AFEAE2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815-4F74-9A8D-5D630AFEAE2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DAT!$L$238:$L$240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DEDAT!$M$238:$M$240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15-4F74-9A8D-5D630AFEAE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705242479"/>
        <c:axId val="705241647"/>
      </c:barChart>
      <c:valAx>
        <c:axId val="7052416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5242479"/>
        <c:crosses val="autoZero"/>
        <c:crossBetween val="between"/>
      </c:valAx>
      <c:catAx>
        <c:axId val="7052424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052416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DSD!PivotTable2</c:name>
    <c:fmtId val="15"/>
  </c:pivotSource>
  <c:chart>
    <c:autoTitleDeleted val="1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SD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SD!$A$163:$A$165</c:f>
              <c:strCache>
                <c:ptCount val="2"/>
                <c:pt idx="0">
                  <c:v>Investigation with no adverse findings</c:v>
                </c:pt>
                <c:pt idx="1">
                  <c:v>Irregularity and/or Non-Compliance</c:v>
                </c:pt>
              </c:strCache>
            </c:strRef>
          </c:cat>
          <c:val>
            <c:numRef>
              <c:f>DSD!$B$163:$B$165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2A-4721-BDD0-22EB752B03E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DSD!PivotTable4</c:name>
    <c:fmtId val="11"/>
  </c:pivotSource>
  <c:chart>
    <c:autoTitleDeleted val="1"/>
    <c:pivotFmts>
      <c:pivotFmt>
        <c:idx val="0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</c:pivotFmt>
      <c:pivotFmt>
        <c:idx val="12"/>
      </c:pivotFmt>
      <c:pivotFmt>
        <c:idx val="13"/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</c:pivotFmt>
      <c:pivotFmt>
        <c:idx val="2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</c:pivotFmt>
      <c:pivotFmt>
        <c:idx val="2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</c:pivotFmt>
      <c:pivotFmt>
        <c:idx val="25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</c:pivotFmt>
      <c:pivotFmt>
        <c:idx val="3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</c:pivotFmt>
      <c:pivotFmt>
        <c:idx val="35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</c:pivotFmt>
    </c:pivotFmts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DSD!$M$128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SD!$L$129:$L$130</c:f>
              <c:strCache>
                <c:ptCount val="1"/>
                <c:pt idx="0">
                  <c:v>Informal disciplinary process in progress</c:v>
                </c:pt>
              </c:strCache>
            </c:strRef>
          </c:cat>
          <c:val>
            <c:numRef>
              <c:f>DSD!$M$129:$M$130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8A-4403-86D2-D03E977B36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43441024"/>
        <c:axId val="1"/>
      </c:barChart>
      <c:catAx>
        <c:axId val="24344102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43441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Q4 19 20 HOD All !PivotTable16</c:name>
    <c:fmtId val="10"/>
  </c:pivotSource>
  <c:chart>
    <c:autoTitleDeleted val="1"/>
    <c:pivotFmts>
      <c:pivotFmt>
        <c:idx val="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05552152280775"/>
          <c:y val="0.14519010603185037"/>
          <c:w val="0.60704328467480462"/>
          <c:h val="0.7643746400264994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Q4 19 20 HOD All '!$M$237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B47-4566-A465-37C52E91235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B47-4566-A465-37C52E91235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4 19 20 HOD All '!$L$238:$L$241</c:f>
              <c:strCache>
                <c:ptCount val="3"/>
                <c:pt idx="0">
                  <c:v>Recommendation not implementable</c:v>
                </c:pt>
                <c:pt idx="1">
                  <c:v>Recommendation implemented</c:v>
                </c:pt>
                <c:pt idx="2">
                  <c:v>Recommendation not yet implemented</c:v>
                </c:pt>
              </c:strCache>
            </c:strRef>
          </c:cat>
          <c:val>
            <c:numRef>
              <c:f>'Q4 19 20 HOD All '!$M$238:$M$241</c:f>
              <c:numCache>
                <c:formatCode>General</c:formatCode>
                <c:ptCount val="3"/>
                <c:pt idx="0">
                  <c:v>1</c:v>
                </c:pt>
                <c:pt idx="1">
                  <c:v>9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47-4566-A465-37C52E9123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705242479"/>
        <c:axId val="705241647"/>
      </c:barChart>
      <c:valAx>
        <c:axId val="70524164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5242479"/>
        <c:crosses val="autoZero"/>
        <c:crossBetween val="between"/>
      </c:valAx>
      <c:catAx>
        <c:axId val="7052424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0524164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Q4 19 20 HOD All !PivotTable14</c:name>
    <c:fmtId val="10"/>
  </c:pivotSource>
  <c:chart>
    <c:autoTitleDeleted val="1"/>
    <c:pivotFmts>
      <c:pivotFmt>
        <c:idx val="0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</c:pivotFmt>
      <c:pivotFmt>
        <c:idx val="10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31053239083750889"/>
          <c:y val="0.24182073514471228"/>
          <c:w val="0.65814572894297307"/>
          <c:h val="0.6360453704394318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Q4 19 20 HOD All '!$M$329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75-4C1B-98B1-1FC051FF9528}"/>
              </c:ext>
            </c:extLst>
          </c:dPt>
          <c:cat>
            <c:strRef>
              <c:f>'Q4 19 20 HOD All '!$L$330:$L$331</c:f>
              <c:strCache>
                <c:ptCount val="1"/>
                <c:pt idx="0">
                  <c:v>Recommendation implemented</c:v>
                </c:pt>
              </c:strCache>
            </c:strRef>
          </c:cat>
          <c:val>
            <c:numRef>
              <c:f>'Q4 19 20 HOD All '!$M$330:$M$33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75-4C1B-98B1-1FC051FF95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740104575"/>
        <c:axId val="740104991"/>
      </c:barChart>
      <c:valAx>
        <c:axId val="74010499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40104575"/>
        <c:crosses val="autoZero"/>
        <c:crossBetween val="between"/>
      </c:valAx>
      <c:catAx>
        <c:axId val="7401045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010499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Recommendations_for Q1 &amp; Q2_SCOPA.xlsx]Q4 19 20 HOD All !PivotTable13</c:name>
    <c:fmtId val="13"/>
  </c:pivotSource>
  <c:chart>
    <c:autoTitleDeleted val="1"/>
    <c:pivotFmts>
      <c:pivotFmt>
        <c:idx val="0"/>
        <c:dLbl>
          <c:idx val="0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51271643617346219"/>
          <c:y val="0.14938112692965325"/>
          <c:w val="0.62871777370618298"/>
          <c:h val="0.671361520754762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Q4 19 20 HOD All '!$M$90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CF5-45CB-972A-64372383B6C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CF5-45CB-972A-64372383B6C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CF5-45CB-972A-64372383B6C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4 19 20 HOD All '!$L$91:$L$94</c:f>
              <c:strCache>
                <c:ptCount val="3"/>
                <c:pt idx="0">
                  <c:v>Recommendation not yet implemented</c:v>
                </c:pt>
                <c:pt idx="1">
                  <c:v>Recommendation not implementable</c:v>
                </c:pt>
                <c:pt idx="2">
                  <c:v>Recommendation implemented</c:v>
                </c:pt>
              </c:strCache>
            </c:strRef>
          </c:cat>
          <c:val>
            <c:numRef>
              <c:f>'Q4 19 20 HOD All '!$M$91:$M$94</c:f>
              <c:numCache>
                <c:formatCode>General</c:formatCode>
                <c:ptCount val="3"/>
                <c:pt idx="0">
                  <c:v>1</c:v>
                </c:pt>
                <c:pt idx="1">
                  <c:v>3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CF5-45CB-972A-64372383B6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605967519"/>
        <c:axId val="605977087"/>
      </c:barChart>
      <c:valAx>
        <c:axId val="60597708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5967519"/>
        <c:crosses val="autoZero"/>
        <c:crossBetween val="between"/>
      </c:valAx>
      <c:catAx>
        <c:axId val="6059675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6059770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200331 Master Recommendations_Q4 19_20 v2_SCOPA.xlsx]WCED!PivotTable4</c:name>
    <c:fmtId val="11"/>
  </c:pivotSource>
  <c:chart>
    <c:autoTitleDeleted val="1"/>
    <c:pivotFmts>
      <c:pivotFmt>
        <c:idx val="0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</c:pivotFmt>
      <c:pivotFmt>
        <c:idx val="12"/>
      </c:pivotFmt>
      <c:pivotFmt>
        <c:idx val="13"/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</c:pivotFmt>
      <c:pivotFmt>
        <c:idx val="2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</c:pivotFmt>
      <c:pivotFmt>
        <c:idx val="2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</c:pivotFmt>
      <c:pivotFmt>
        <c:idx val="25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circle"/>
          <c:size val="6"/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</c:pivotFmt>
      <c:pivotFmt>
        <c:idx val="34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</c:pivotFmt>
      <c:pivotFmt>
        <c:idx val="35"/>
        <c:spPr>
          <a:gradFill rotWithShape="1"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</c:pivotFmt>
    </c:pivotFmts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WCED!$M$128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WCED!$L$129:$L$134</c:f>
              <c:strCache>
                <c:ptCount val="5"/>
                <c:pt idx="0">
                  <c:v>Cautionary Letter</c:v>
                </c:pt>
                <c:pt idx="1">
                  <c:v>Dismissal</c:v>
                </c:pt>
                <c:pt idx="2">
                  <c:v>Final Written Warning and Suspended without pay (2 months) </c:v>
                </c:pt>
                <c:pt idx="3">
                  <c:v>Insufficient information on/evidence to warrant formal charges by DLR</c:v>
                </c:pt>
                <c:pt idx="4">
                  <c:v>Retired / Resigned / contract expired (no disciplinary action)</c:v>
                </c:pt>
              </c:strCache>
            </c:strRef>
          </c:cat>
          <c:val>
            <c:numRef>
              <c:f>WCED!$M$129:$M$134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CB-4B15-B34D-15D7E61976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43441024"/>
        <c:axId val="1"/>
      </c:barChart>
      <c:catAx>
        <c:axId val="24344102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43441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DOH!PivotTable2</c:name>
    <c:fmtId val="10"/>
  </c:pivotSource>
  <c:chart>
    <c:autoTitleDeleted val="1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DOH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OH!$A$163:$A$164</c:f>
              <c:strCache>
                <c:ptCount val="1"/>
                <c:pt idx="0">
                  <c:v>Investigation with no adverse findings </c:v>
                </c:pt>
              </c:strCache>
            </c:strRef>
          </c:cat>
          <c:val>
            <c:numRef>
              <c:f>DOH!$B$163:$B$16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EC-4F98-AB1C-97CB6FABC9C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20190930 Sept Case list V1_SCOPA.xlsx]WCED!PivotTable2</c:name>
    <c:fmtId val="13"/>
  </c:pivotSource>
  <c:chart>
    <c:autoTitleDeleted val="1"/>
    <c:pivotFmts>
      <c:pivotFmt>
        <c:idx val="0"/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diamond"/>
          <c:size val="5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9525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WCED!$B$162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WCED!$A$163:$A$170</c:f>
              <c:strCache>
                <c:ptCount val="7"/>
                <c:pt idx="0">
                  <c:v>Corruption, extortion and theft </c:v>
                </c:pt>
                <c:pt idx="1">
                  <c:v>Fraud and/or Corruption, Irregularity and/or Non-Compliance</c:v>
                </c:pt>
                <c:pt idx="2">
                  <c:v>Fraud, Corruption, Other</c:v>
                </c:pt>
                <c:pt idx="3">
                  <c:v>Investigation with no adverse findings</c:v>
                </c:pt>
                <c:pt idx="4">
                  <c:v>Investigation with no adverse findings but with recommendations</c:v>
                </c:pt>
                <c:pt idx="5">
                  <c:v>Irregularity and/or Non-Compliance</c:v>
                </c:pt>
                <c:pt idx="6">
                  <c:v>Non-compliance</c:v>
                </c:pt>
              </c:strCache>
            </c:strRef>
          </c:cat>
          <c:val>
            <c:numRef>
              <c:f>WCED!$B$163:$B$170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88-47CE-9045-DDA3EB344CB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15"/>
        <c:overlap val="-20"/>
        <c:axId val="793830000"/>
        <c:axId val="793829168"/>
      </c:barChart>
      <c:catAx>
        <c:axId val="7938300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793829168"/>
        <c:crosses val="autoZero"/>
        <c:auto val="1"/>
        <c:lblAlgn val="ctr"/>
        <c:lblOffset val="100"/>
        <c:noMultiLvlLbl val="0"/>
      </c:catAx>
      <c:valAx>
        <c:axId val="793829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383000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6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20180124 Master Recommendations_SCOPA Q2 Q3_17.18 v3.xls]WCED!PivotTable16</c:name>
    <c:fmtId val="2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ln>
            <a:solidFill>
              <a:sysClr val="window" lastClr="FFFFFF"/>
            </a:solidFill>
          </a:ln>
        </c:spPr>
      </c:pivotFmt>
      <c:pivotFmt>
        <c:idx val="2"/>
        <c:spPr>
          <a:ln>
            <a:solidFill>
              <a:sysClr val="window" lastClr="FFFFFF"/>
            </a:solidFill>
          </a:ln>
        </c:spPr>
      </c:pivotFmt>
      <c:pivotFmt>
        <c:idx val="3"/>
        <c:spPr>
          <a:ln>
            <a:solidFill>
              <a:sysClr val="window" lastClr="FFFFFF"/>
            </a:solidFill>
          </a:ln>
        </c:spPr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</c:pivotFmts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5261107337011592"/>
          <c:y val="0.1112473358415761"/>
          <c:w val="0.3267980161387341"/>
          <c:h val="0.63310362890135508"/>
        </c:manualLayout>
      </c:layout>
      <c:overlay val="0"/>
      <c:txPr>
        <a:bodyPr/>
        <a:lstStyle/>
        <a:p>
          <a:pPr>
            <a:defRPr sz="75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3853" y="0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28/04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3853" y="8685213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3853" y="0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20/04/2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3325" y="685800"/>
            <a:ext cx="4573588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025" y="4343400"/>
            <a:ext cx="558419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3853" y="8685213"/>
            <a:ext cx="302477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120293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2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2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2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3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3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646952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83103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58247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898899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1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715591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1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1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1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9092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102" y="1910659"/>
            <a:ext cx="2446066" cy="68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49782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11151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91297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70208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8955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11711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44327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00529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805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489850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9989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73922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31980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16726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7206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7920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90616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186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85435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53271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9745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10142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102" y="1910659"/>
            <a:ext cx="2446066" cy="68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09309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401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21" Type="http://schemas.openxmlformats.org/officeDocument/2006/relationships/slideLayout" Target="../slideLayouts/slideLayout45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tags" Target="../tags/tag56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5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5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51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4° quarter 30092013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4° quarter 30092013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26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7.xml"/><Relationship Id="rId4" Type="http://schemas.openxmlformats.org/officeDocument/2006/relationships/chart" Target="../charts/char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68144" y="5805264"/>
            <a:ext cx="2736304" cy="504056"/>
          </a:xfrm>
        </p:spPr>
        <p:txBody>
          <a:bodyPr>
            <a:normAutofit lnSpcReduction="10000"/>
          </a:bodyPr>
          <a:lstStyle/>
          <a:p>
            <a:r>
              <a:rPr lang="en-GB" dirty="0"/>
              <a:t>WCG-SCOPA </a:t>
            </a:r>
          </a:p>
          <a:p>
            <a:r>
              <a:rPr lang="en-GB" dirty="0"/>
              <a:t>08 May 2020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156176" y="5373216"/>
            <a:ext cx="2448272" cy="365125"/>
          </a:xfrm>
        </p:spPr>
        <p:txBody>
          <a:bodyPr>
            <a:noAutofit/>
          </a:bodyPr>
          <a:lstStyle/>
          <a:p>
            <a:r>
              <a:rPr lang="en-GB" sz="1200" dirty="0"/>
              <a:t>Ruthven Janse van Rensburg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VINCIAL FORENSIC SERVIC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3528" y="4532527"/>
            <a:ext cx="8496944" cy="773765"/>
          </a:xfrm>
        </p:spPr>
        <p:txBody>
          <a:bodyPr>
            <a:normAutofit/>
          </a:bodyPr>
          <a:lstStyle/>
          <a:p>
            <a:r>
              <a:rPr lang="en-GB" dirty="0"/>
              <a:t>Investigations undertaken in the 1</a:t>
            </a:r>
            <a:r>
              <a:rPr lang="en-GB" baseline="30000" dirty="0"/>
              <a:t>st</a:t>
            </a:r>
            <a:r>
              <a:rPr lang="en-GB" dirty="0"/>
              <a:t> and 2</a:t>
            </a:r>
            <a:r>
              <a:rPr lang="en-GB" baseline="30000" dirty="0"/>
              <a:t>nd</a:t>
            </a:r>
            <a:r>
              <a:rPr lang="en-GB" dirty="0"/>
              <a:t> quarters of the 2019/2020 financial 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1015776"/>
          </a:xfrm>
        </p:spPr>
        <p:txBody>
          <a:bodyPr/>
          <a:lstStyle/>
          <a:p>
            <a:r>
              <a:rPr lang="en-ZA" dirty="0"/>
              <a:t>Criminal cases – All Department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268760"/>
            <a:ext cx="820891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PFS recommended criminal action (SAPS cases) in 4 cases finalised during the 1</a:t>
            </a:r>
            <a:r>
              <a:rPr lang="en-ZA" sz="1400" baseline="30000" dirty="0"/>
              <a:t>st</a:t>
            </a:r>
            <a:r>
              <a:rPr lang="en-ZA" sz="1400" dirty="0"/>
              <a:t> and 2</a:t>
            </a:r>
            <a:r>
              <a:rPr lang="en-ZA" sz="1400" baseline="30000" dirty="0"/>
              <a:t>nd</a:t>
            </a:r>
            <a:r>
              <a:rPr lang="en-ZA" sz="1400" dirty="0"/>
              <a:t> quarters of 2019/2020. </a:t>
            </a:r>
          </a:p>
          <a:p>
            <a:endParaRPr lang="en-ZA" sz="1400" dirty="0"/>
          </a:p>
          <a:p>
            <a:r>
              <a:rPr lang="en-ZA" sz="1400" dirty="0"/>
              <a:t>In another case a criminal matter had been reported with SAPS and PFS filed a supplementary affidavit with SAPS following its investigation.</a:t>
            </a:r>
          </a:p>
          <a:p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val="3559281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Healt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20525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Finalis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 – 30 September 19</a:t>
            </a:r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6169555"/>
              </p:ext>
            </p:extLst>
          </p:nvPr>
        </p:nvGraphicFramePr>
        <p:xfrm>
          <a:off x="471488" y="1671637"/>
          <a:ext cx="8060952" cy="3341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345736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Educ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7535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– 30 September 19</a:t>
            </a:r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1245131"/>
              </p:ext>
            </p:extLst>
          </p:nvPr>
        </p:nvGraphicFramePr>
        <p:xfrm>
          <a:off x="539552" y="1196752"/>
          <a:ext cx="8208912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24310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9512" y="336125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 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95275" y="1196753"/>
            <a:ext cx="4204717" cy="4176464"/>
          </a:xfrm>
        </p:spPr>
        <p:txBody>
          <a:bodyPr/>
          <a:lstStyle/>
          <a:p>
            <a:r>
              <a:rPr lang="en-ZA" dirty="0"/>
              <a:t>7 Disciplinary Action Recommendations mad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31779" y="1196753"/>
            <a:ext cx="4060701" cy="3240359"/>
          </a:xfrm>
        </p:spPr>
        <p:txBody>
          <a:bodyPr/>
          <a:lstStyle/>
          <a:p>
            <a:r>
              <a:rPr lang="en-ZA" dirty="0"/>
              <a:t>15 Control/Other Recommendations made</a:t>
            </a: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3656448"/>
              </p:ext>
            </p:extLst>
          </p:nvPr>
        </p:nvGraphicFramePr>
        <p:xfrm>
          <a:off x="4831778" y="1700808"/>
          <a:ext cx="3700662" cy="2550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5554322"/>
              </p:ext>
            </p:extLst>
          </p:nvPr>
        </p:nvGraphicFramePr>
        <p:xfrm>
          <a:off x="316685" y="1841123"/>
          <a:ext cx="4348733" cy="21110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4071395"/>
              </p:ext>
            </p:extLst>
          </p:nvPr>
        </p:nvGraphicFramePr>
        <p:xfrm>
          <a:off x="4831777" y="1752602"/>
          <a:ext cx="4060704" cy="2828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9222315"/>
              </p:ext>
            </p:extLst>
          </p:nvPr>
        </p:nvGraphicFramePr>
        <p:xfrm>
          <a:off x="295274" y="1752602"/>
          <a:ext cx="4354286" cy="2828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5592670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 of finalised Disciplinary Action recommend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/>
              <a:t>WCG-SCOPA Statistics 3rd quarter 30092013</a:t>
            </a:r>
            <a:endParaRPr lang="en-GB" dirty="0"/>
          </a:p>
        </p:txBody>
      </p:sp>
      <p:graphicFrame>
        <p:nvGraphicFramePr>
          <p:cNvPr id="7" name="Chart 6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4730253"/>
              </p:ext>
            </p:extLst>
          </p:nvPr>
        </p:nvGraphicFramePr>
        <p:xfrm>
          <a:off x="827584" y="1470660"/>
          <a:ext cx="7704856" cy="4190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497606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Criminal cases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 </a:t>
            </a: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295274" y="1052736"/>
            <a:ext cx="874122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ZA" sz="1100" dirty="0"/>
          </a:p>
          <a:p>
            <a:r>
              <a:rPr lang="en-ZA" sz="1400" dirty="0"/>
              <a:t>PFS recommended criminal action (SAPS cases) in 3 cases finalised during the 1</a:t>
            </a:r>
            <a:r>
              <a:rPr lang="en-ZA" sz="1400" baseline="30000" dirty="0"/>
              <a:t>st</a:t>
            </a:r>
            <a:r>
              <a:rPr lang="en-ZA" sz="1400" dirty="0"/>
              <a:t> and  2</a:t>
            </a:r>
            <a:r>
              <a:rPr lang="en-ZA" sz="1400" baseline="30000" dirty="0"/>
              <a:t>nd</a:t>
            </a:r>
            <a:r>
              <a:rPr lang="en-ZA" sz="1400" dirty="0"/>
              <a:t> quarters of 2019/2020. </a:t>
            </a:r>
          </a:p>
          <a:p>
            <a:endParaRPr lang="en-ZA" sz="1100" dirty="0"/>
          </a:p>
        </p:txBody>
      </p:sp>
    </p:spTree>
    <p:extLst>
      <p:ext uri="{BB962C8B-B14F-4D97-AF65-F5344CB8AC3E}">
        <p14:creationId xmlns:p14="http://schemas.microsoft.com/office/powerpoint/2010/main" val="3851274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>
            <a:normAutofit fontScale="92500"/>
          </a:bodyPr>
          <a:lstStyle/>
          <a:p>
            <a:pPr algn="ctr"/>
            <a:r>
              <a:rPr lang="en-GB" dirty="0"/>
              <a:t>Department of Transport and Public Wor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7535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9</a:t>
            </a:fld>
            <a:endParaRPr lang="en-ZA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 </a:t>
            </a:r>
            <a:endParaRPr lang="en-GB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578346"/>
              </p:ext>
            </p:extLst>
          </p:nvPr>
        </p:nvGraphicFramePr>
        <p:xfrm>
          <a:off x="611560" y="1268760"/>
          <a:ext cx="7881392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40586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81" b="78222"/>
          <a:stretch/>
        </p:blipFill>
        <p:spPr bwMode="auto">
          <a:xfrm>
            <a:off x="0" y="43934"/>
            <a:ext cx="91440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1" y="1600202"/>
            <a:ext cx="8075239" cy="5140232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ZA" sz="1200" b="0" dirty="0"/>
              <a:t>Your ref: 11/4/1/2/1</a:t>
            </a:r>
          </a:p>
          <a:p>
            <a:pPr>
              <a:spcBef>
                <a:spcPts val="0"/>
              </a:spcBef>
            </a:pPr>
            <a:endParaRPr lang="en-ZA" sz="1200" b="0" dirty="0"/>
          </a:p>
          <a:p>
            <a:pPr>
              <a:spcBef>
                <a:spcPts val="0"/>
              </a:spcBef>
            </a:pPr>
            <a:r>
              <a:rPr lang="en-ZA" sz="1200" b="0" dirty="0"/>
              <a:t>Mr L </a:t>
            </a:r>
            <a:r>
              <a:rPr lang="en-ZA" sz="1200" b="0" dirty="0" err="1"/>
              <a:t>Mvimbi</a:t>
            </a:r>
            <a:r>
              <a:rPr lang="en-ZA" sz="1200" b="0" dirty="0"/>
              <a:t>, MPP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Chairperson of the Standing Committee on Public Account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P O Box 648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Cape Tow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8000</a:t>
            </a:r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>
              <a:spcBef>
                <a:spcPts val="0"/>
              </a:spcBef>
            </a:pPr>
            <a:r>
              <a:rPr lang="en-ZA" sz="1200" b="0" dirty="0"/>
              <a:t>Dear Mr </a:t>
            </a:r>
            <a:r>
              <a:rPr lang="en-ZA" sz="1200" b="0" dirty="0" err="1"/>
              <a:t>Mvimbi</a:t>
            </a: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>
              <a:spcBef>
                <a:spcPts val="0"/>
              </a:spcBef>
            </a:pPr>
            <a:r>
              <a:rPr lang="en-US" sz="1200" dirty="0"/>
              <a:t>BRIEFING ON CASES INVESTIGATED PER DEPARTMENT AND ENTITY DURING 1</a:t>
            </a:r>
            <a:r>
              <a:rPr lang="en-US" sz="1200" baseline="30000" dirty="0"/>
              <a:t>ST</a:t>
            </a:r>
            <a:r>
              <a:rPr lang="en-US" sz="1200" dirty="0"/>
              <a:t> AND 2</a:t>
            </a:r>
            <a:r>
              <a:rPr lang="en-US" sz="1200" baseline="30000" dirty="0"/>
              <a:t>ND</a:t>
            </a:r>
            <a:r>
              <a:rPr lang="en-US" sz="1200" dirty="0"/>
              <a:t> QUARTERS OF 2019/20</a:t>
            </a:r>
          </a:p>
          <a:p>
            <a:pPr>
              <a:spcBef>
                <a:spcPts val="0"/>
              </a:spcBef>
            </a:pPr>
            <a:endParaRPr lang="en-US" sz="1200" dirty="0"/>
          </a:p>
          <a:p>
            <a:pPr algn="just">
              <a:spcBef>
                <a:spcPts val="0"/>
              </a:spcBef>
            </a:pPr>
            <a:r>
              <a:rPr lang="en-US" sz="1200" b="0" dirty="0"/>
              <a:t>Your letter dated 24 April 2020 refers.</a:t>
            </a:r>
            <a:endParaRPr lang="en-ZA" sz="1200" b="0" dirty="0"/>
          </a:p>
          <a:p>
            <a:pPr marL="0" indent="0" algn="just">
              <a:spcBef>
                <a:spcPts val="0"/>
              </a:spcBef>
              <a:buNone/>
            </a:pPr>
            <a:endParaRPr lang="en-ZA" sz="1200" b="0" dirty="0"/>
          </a:p>
          <a:p>
            <a:pPr marL="0" indent="0" algn="just">
              <a:spcBef>
                <a:spcPts val="0"/>
              </a:spcBef>
              <a:buNone/>
            </a:pPr>
            <a:r>
              <a:rPr lang="en-ZA" sz="1200" b="0" dirty="0"/>
              <a:t>I am pleased to submit herewith our presentation in the above-mentioned regard.  We appreciate the engagement with the Public Accounts Committee.</a:t>
            </a:r>
          </a:p>
          <a:p>
            <a:pPr marL="0" indent="0" algn="just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Yours sincerely</a:t>
            </a:r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r>
              <a:rPr lang="en-ZA" sz="1200" b="0" i="1" dirty="0"/>
              <a:t>Electronically signed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dirty="0"/>
              <a:t>Ruthven Janse van Rensburg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dirty="0"/>
              <a:t>Chief Director:  Provincial Forensic Servic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dirty="0"/>
              <a:t>Date: 27 APRIL 2020</a:t>
            </a:r>
          </a:p>
        </p:txBody>
      </p:sp>
      <p:sp>
        <p:nvSpPr>
          <p:cNvPr id="4" name="Rectangle 3"/>
          <p:cNvSpPr/>
          <p:nvPr/>
        </p:nvSpPr>
        <p:spPr>
          <a:xfrm>
            <a:off x="4540411" y="323048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ZA" sz="1600" dirty="0"/>
              <a:t>Provincial Forensic Services</a:t>
            </a:r>
          </a:p>
          <a:p>
            <a:r>
              <a:rPr lang="en-ZA" sz="1100" dirty="0"/>
              <a:t>Reference:  2/11/2/R</a:t>
            </a:r>
          </a:p>
          <a:p>
            <a:r>
              <a:rPr lang="en-ZA" sz="1100" dirty="0"/>
              <a:t>Enquiries:  Ruthven Janse van Rensburg</a:t>
            </a:r>
          </a:p>
          <a:p>
            <a:r>
              <a:rPr lang="en-ZA" dirty="0"/>
              <a:t> 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- 30 Sep 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29954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9512" y="336125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WCG-SCOPA </a:t>
            </a:r>
            <a:r>
              <a:rPr kumimoji="0" lang="en-ZA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1 April 19 – 30 September 19 </a:t>
            </a:r>
            <a:endParaRPr kumimoji="0" lang="en-GB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95275" y="1196753"/>
            <a:ext cx="4060701" cy="2880319"/>
          </a:xfrm>
        </p:spPr>
        <p:txBody>
          <a:bodyPr/>
          <a:lstStyle/>
          <a:p>
            <a:r>
              <a:rPr lang="en-ZA" dirty="0"/>
              <a:t>1 Disciplinary Action Recommend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28247" y="1196753"/>
            <a:ext cx="4364234" cy="2880319"/>
          </a:xfrm>
        </p:spPr>
        <p:txBody>
          <a:bodyPr/>
          <a:lstStyle/>
          <a:p>
            <a:r>
              <a:rPr lang="en-ZA" dirty="0"/>
              <a:t>3 Control/Other Recommendations mad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71800" y="4070889"/>
            <a:ext cx="35283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1 Civil Action Recommendation made</a:t>
            </a:r>
          </a:p>
        </p:txBody>
      </p:sp>
      <p:graphicFrame>
        <p:nvGraphicFramePr>
          <p:cNvPr id="12" name="Chart 11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6108513"/>
              </p:ext>
            </p:extLst>
          </p:nvPr>
        </p:nvGraphicFramePr>
        <p:xfrm>
          <a:off x="306625" y="1687461"/>
          <a:ext cx="4090076" cy="2245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0339433"/>
              </p:ext>
            </p:extLst>
          </p:nvPr>
        </p:nvGraphicFramePr>
        <p:xfrm>
          <a:off x="4587646" y="1604413"/>
          <a:ext cx="4189071" cy="2328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Chart 14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6052548"/>
              </p:ext>
            </p:extLst>
          </p:nvPr>
        </p:nvGraphicFramePr>
        <p:xfrm>
          <a:off x="2206916" y="4449797"/>
          <a:ext cx="4309300" cy="2018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197922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741221" cy="559256"/>
          </a:xfrm>
        </p:spPr>
        <p:txBody>
          <a:bodyPr/>
          <a:lstStyle/>
          <a:p>
            <a:r>
              <a:rPr lang="en-ZA" dirty="0"/>
              <a:t>Outcome of finalised Disciplinary Action recommendation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/>
              <a:t>WCG-SCOPA Statistics 3rd quarter 30092013</a:t>
            </a:r>
            <a:endParaRPr lang="en-GB" dirty="0"/>
          </a:p>
        </p:txBody>
      </p:sp>
      <p:graphicFrame>
        <p:nvGraphicFramePr>
          <p:cNvPr id="8" name="Chart 7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0076047"/>
              </p:ext>
            </p:extLst>
          </p:nvPr>
        </p:nvGraphicFramePr>
        <p:xfrm>
          <a:off x="2280557" y="2155371"/>
          <a:ext cx="4307668" cy="2353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98226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2</a:t>
            </a:fld>
            <a:endParaRPr lang="en-ZA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Criminal cases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 </a:t>
            </a: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295274" y="1052736"/>
            <a:ext cx="8741222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ZA" sz="1100" dirty="0"/>
          </a:p>
          <a:p>
            <a:r>
              <a:rPr lang="en-ZA" sz="1400" dirty="0"/>
              <a:t>PFS recommended criminal action to be reported SAPS in one case finalised during the 1</a:t>
            </a:r>
            <a:r>
              <a:rPr lang="en-ZA" sz="1400" baseline="30000" dirty="0"/>
              <a:t>st</a:t>
            </a:r>
            <a:r>
              <a:rPr lang="en-ZA" sz="1400" dirty="0"/>
              <a:t> and  2</a:t>
            </a:r>
            <a:r>
              <a:rPr lang="en-ZA" sz="1400" baseline="30000" dirty="0"/>
              <a:t>nd</a:t>
            </a:r>
            <a:r>
              <a:rPr lang="en-ZA" sz="1400" dirty="0"/>
              <a:t> quarters of 2019/2020. </a:t>
            </a:r>
          </a:p>
          <a:p>
            <a:endParaRPr lang="en-ZA" sz="1400" dirty="0"/>
          </a:p>
          <a:p>
            <a:r>
              <a:rPr lang="en-US" sz="1400" dirty="0"/>
              <a:t>In another case a criminal matter had been reported with SAPS and PFS filed a supplementary affidavit with SAPS following its investigation.</a:t>
            </a:r>
          </a:p>
          <a:p>
            <a:endParaRPr lang="en-ZA" sz="1400" dirty="0"/>
          </a:p>
          <a:p>
            <a:endParaRPr lang="en-ZA" sz="1100" dirty="0"/>
          </a:p>
        </p:txBody>
      </p:sp>
    </p:spTree>
    <p:extLst>
      <p:ext uri="{BB962C8B-B14F-4D97-AF65-F5344CB8AC3E}">
        <p14:creationId xmlns:p14="http://schemas.microsoft.com/office/powerpoint/2010/main" val="6516407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Cultural Affairs and Spo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7535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4</a:t>
            </a:fld>
            <a:endParaRPr lang="en-ZA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 </a:t>
            </a:r>
            <a:endParaRPr lang="en-GB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7089509"/>
              </p:ext>
            </p:extLst>
          </p:nvPr>
        </p:nvGraphicFramePr>
        <p:xfrm>
          <a:off x="1403648" y="1390650"/>
          <a:ext cx="7056784" cy="3262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583075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Human Settlem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7535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6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</a:t>
            </a:r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661228"/>
              </p:ext>
            </p:extLst>
          </p:nvPr>
        </p:nvGraphicFramePr>
        <p:xfrm>
          <a:off x="1115616" y="1390650"/>
          <a:ext cx="7416824" cy="3694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457043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9512" y="336125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</a:rPr>
              <a:t>WCG-SCOPA </a:t>
            </a:r>
            <a:r>
              <a:rPr kumimoji="0" lang="en-ZA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</a:rPr>
              <a:t>1 April 19 – 30 September 19 </a:t>
            </a:r>
            <a:endParaRPr kumimoji="0" lang="en-GB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</a:endParaRPr>
          </a:p>
        </p:txBody>
      </p:sp>
      <p:graphicFrame>
        <p:nvGraphicFramePr>
          <p:cNvPr id="8" name="Chart 7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2490676"/>
              </p:ext>
            </p:extLst>
          </p:nvPr>
        </p:nvGraphicFramePr>
        <p:xfrm>
          <a:off x="2123728" y="2117271"/>
          <a:ext cx="4696171" cy="2623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2555776" y="1366677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ZA" sz="1100" b="1" dirty="0"/>
              <a:t>1 Control/Other Recommendation made</a:t>
            </a:r>
          </a:p>
        </p:txBody>
      </p:sp>
    </p:spTree>
    <p:extLst>
      <p:ext uri="{BB962C8B-B14F-4D97-AF65-F5344CB8AC3E}">
        <p14:creationId xmlns:p14="http://schemas.microsoft.com/office/powerpoint/2010/main" val="41053352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GB" dirty="0"/>
              <a:t>Department of Economic Development and Touris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7535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9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</a:t>
            </a:r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9280796"/>
              </p:ext>
            </p:extLst>
          </p:nvPr>
        </p:nvGraphicFramePr>
        <p:xfrm>
          <a:off x="827584" y="1390650"/>
          <a:ext cx="7632848" cy="3478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12127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>
            <a:normAutofit fontScale="92500"/>
          </a:bodyPr>
          <a:lstStyle/>
          <a:p>
            <a:pPr algn="ctr"/>
            <a:r>
              <a:rPr lang="en-GB" dirty="0"/>
              <a:t>Case Load Reconciliation – All Departm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50998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9512" y="336125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WCG-SCOPA </a:t>
            </a:r>
            <a:r>
              <a:rPr kumimoji="0" lang="en-ZA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1 April 19 – 30 September </a:t>
            </a:r>
            <a:r>
              <a:rPr kumimoji="0" lang="en-ZA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 </a:t>
            </a:r>
            <a:endParaRPr kumimoji="0" lang="en-GB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31640" y="1196752"/>
            <a:ext cx="5976664" cy="4176464"/>
          </a:xfrm>
        </p:spPr>
        <p:txBody>
          <a:bodyPr/>
          <a:lstStyle/>
          <a:p>
            <a:r>
              <a:rPr lang="en-ZA" dirty="0"/>
              <a:t>2 Control/Other Recommendations made</a:t>
            </a:r>
          </a:p>
        </p:txBody>
      </p:sp>
      <p:graphicFrame>
        <p:nvGraphicFramePr>
          <p:cNvPr id="7" name="Chart 6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8445706"/>
              </p:ext>
            </p:extLst>
          </p:nvPr>
        </p:nvGraphicFramePr>
        <p:xfrm>
          <a:off x="2324100" y="2117271"/>
          <a:ext cx="4495799" cy="2623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310806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Social Develop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7535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2</a:t>
            </a:fld>
            <a:endParaRPr lang="en-ZA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</a:t>
            </a:r>
            <a:endParaRPr lang="en-GB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1365996"/>
              </p:ext>
            </p:extLst>
          </p:nvPr>
        </p:nvGraphicFramePr>
        <p:xfrm>
          <a:off x="683568" y="1390650"/>
          <a:ext cx="7498085" cy="3694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030513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9512" y="336125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45719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1100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ZA" sz="11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67944" y="6468150"/>
            <a:ext cx="4138573" cy="230832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WCG-SCOPA </a:t>
            </a:r>
            <a:r>
              <a:rPr kumimoji="0" lang="en-ZA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1 April 19 – 30 September 19 </a:t>
            </a:r>
            <a:endParaRPr kumimoji="0" lang="en-GB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835696" y="1196752"/>
            <a:ext cx="5472608" cy="4752528"/>
          </a:xfrm>
        </p:spPr>
        <p:txBody>
          <a:bodyPr/>
          <a:lstStyle/>
          <a:p>
            <a:r>
              <a:rPr lang="en-ZA" dirty="0"/>
              <a:t>	1 Disciplinary Action Recommendation made</a:t>
            </a:r>
          </a:p>
        </p:txBody>
      </p:sp>
      <p:graphicFrame>
        <p:nvGraphicFramePr>
          <p:cNvPr id="10" name="Chart 9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87391"/>
              </p:ext>
            </p:extLst>
          </p:nvPr>
        </p:nvGraphicFramePr>
        <p:xfrm>
          <a:off x="1259632" y="1988840"/>
          <a:ext cx="6336704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9270914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1753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  <a:noFill/>
        </p:spPr>
        <p:txBody>
          <a:bodyPr/>
          <a:lstStyle/>
          <a:p>
            <a:r>
              <a:rPr lang="en-ZA" dirty="0"/>
              <a:t>Case Load Reconciliation – All Departments</a:t>
            </a:r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ZA" dirty="0"/>
              <a:t>1</a:t>
            </a:r>
            <a:endParaRPr lang="en-GB" dirty="0"/>
          </a:p>
          <a:p>
            <a:r>
              <a:rPr lang="en-ZA" dirty="0"/>
              <a:t>WCG SCOPA 1 April 19 – 30 Sep 19 </a:t>
            </a: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816920"/>
              </p:ext>
            </p:extLst>
          </p:nvPr>
        </p:nvGraphicFramePr>
        <p:xfrm>
          <a:off x="1475656" y="980726"/>
          <a:ext cx="4780726" cy="3182918"/>
        </p:xfrm>
        <a:graphic>
          <a:graphicData uri="http://schemas.openxmlformats.org/drawingml/2006/table">
            <a:tbl>
              <a:tblPr/>
              <a:tblGrid>
                <a:gridCol w="3668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22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9309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SE</a:t>
                      </a:r>
                      <a:r>
                        <a:rPr lang="en-ZA" sz="1100" b="1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LOAD RECONCILIATION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ZA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ases open as at 1 April 20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Q1 &amp;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Q2 19/20</a:t>
                      </a:r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 -  New Cas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Q1 &amp;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Q2 19/20</a:t>
                      </a:r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  - Finalised Cas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Q1 &amp; Q2 - 19.20  - Duplicate/Incorporated Cases</a:t>
                      </a:r>
                    </a:p>
                    <a:p>
                      <a:pPr algn="l" fontAlgn="ctr"/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653367"/>
                  </a:ext>
                </a:extLst>
              </a:tr>
              <a:tr h="514981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ases on hand as at 30 September</a:t>
                      </a:r>
                      <a:r>
                        <a:rPr lang="en-ZA" sz="11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2019</a:t>
                      </a:r>
                      <a:endParaRPr lang="en-ZA" sz="11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261687"/>
              </p:ext>
            </p:extLst>
          </p:nvPr>
        </p:nvGraphicFramePr>
        <p:xfrm>
          <a:off x="1475656" y="4319850"/>
          <a:ext cx="4780726" cy="1833365"/>
        </p:xfrm>
        <a:graphic>
          <a:graphicData uri="http://schemas.openxmlformats.org/drawingml/2006/table">
            <a:tbl>
              <a:tblPr/>
              <a:tblGrid>
                <a:gridCol w="3668437">
                  <a:extLst>
                    <a:ext uri="{9D8B030D-6E8A-4147-A177-3AD203B41FA5}">
                      <a16:colId xmlns:a16="http://schemas.microsoft.com/office/drawing/2014/main" val="2080930717"/>
                    </a:ext>
                  </a:extLst>
                </a:gridCol>
                <a:gridCol w="1112289">
                  <a:extLst>
                    <a:ext uri="{9D8B030D-6E8A-4147-A177-3AD203B41FA5}">
                      <a16:colId xmlns:a16="http://schemas.microsoft.com/office/drawing/2014/main" val="2575990700"/>
                    </a:ext>
                  </a:extLst>
                </a:gridCol>
              </a:tblGrid>
              <a:tr h="61656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OF CASE LOAD ON HAND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ZA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982544"/>
                  </a:ext>
                </a:extLst>
              </a:tr>
              <a:tr h="6084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Progress (Refer to Slide 5)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1602987"/>
                  </a:ext>
                </a:extLst>
              </a:tr>
              <a:tr h="6084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Not yet started (as at 30 September 2019)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12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9510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57D7AE-0810-41CB-8657-22313CC4B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nvestigations in progress during Q1 and Q2 2019- 20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E7400D-76C6-470F-9951-E1C4C0E4BB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9D0DB5-8BF3-4EFA-BDE4-1D7B440DCD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/>
              <a:t>WCG-SCOPA Statistics 3rd quarter 30092013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2280674"/>
              </p:ext>
            </p:extLst>
          </p:nvPr>
        </p:nvGraphicFramePr>
        <p:xfrm>
          <a:off x="1063623" y="1261110"/>
          <a:ext cx="7314456" cy="4754880"/>
        </p:xfrm>
        <a:graphic>
          <a:graphicData uri="http://schemas.openxmlformats.org/drawingml/2006/table">
            <a:tbl>
              <a:tblPr/>
              <a:tblGrid>
                <a:gridCol w="1512882">
                  <a:extLst>
                    <a:ext uri="{9D8B030D-6E8A-4147-A177-3AD203B41FA5}">
                      <a16:colId xmlns:a16="http://schemas.microsoft.com/office/drawing/2014/main" val="4224232143"/>
                    </a:ext>
                  </a:extLst>
                </a:gridCol>
                <a:gridCol w="1078751">
                  <a:extLst>
                    <a:ext uri="{9D8B030D-6E8A-4147-A177-3AD203B41FA5}">
                      <a16:colId xmlns:a16="http://schemas.microsoft.com/office/drawing/2014/main" val="592124489"/>
                    </a:ext>
                  </a:extLst>
                </a:gridCol>
                <a:gridCol w="2433767">
                  <a:extLst>
                    <a:ext uri="{9D8B030D-6E8A-4147-A177-3AD203B41FA5}">
                      <a16:colId xmlns:a16="http://schemas.microsoft.com/office/drawing/2014/main" val="1696517657"/>
                    </a:ext>
                  </a:extLst>
                </a:gridCol>
                <a:gridCol w="2289056">
                  <a:extLst>
                    <a:ext uri="{9D8B030D-6E8A-4147-A177-3AD203B41FA5}">
                      <a16:colId xmlns:a16="http://schemas.microsoft.com/office/drawing/2014/main" val="2815604048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FIU Numb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Allegation Typ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How Report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61333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gricultu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rnal Tip-off lin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893633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gricultu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622495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gricultu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Nepotis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86382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0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S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9585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S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Thef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4544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0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S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03250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S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59356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1627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863917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Procurement Irregularities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rnal Tip-off lin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953462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Nepotis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rnal Tip-off lin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4370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Nepotis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rnal Tip-off lin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669681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0337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558259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3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 &amp; PW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procurement irregulariti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96476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4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 &amp; PW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Nepotis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histle-blowe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05375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0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 &amp; PW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rnal Tip-off lin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0683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 &amp; PW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Thef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45755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3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68866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3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79239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23343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0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ernal Tip-off lin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339576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0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3553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Thef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86096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al Referra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4473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02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9A8AEF-9076-40FC-9FDB-EA538A757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ses finalised 1 April 2019 - 30 September 2019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4B6874-7952-4A1E-AFEE-90DB31A6F4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A39469-515D-45BA-8996-DD08AD4890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 dirty="0"/>
              <a:t>WCG-SCOPA Statistics 1 April 19 – 30 September 19</a:t>
            </a:r>
            <a:endParaRPr lang="en-GB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6628396"/>
              </p:ext>
            </p:extLst>
          </p:nvPr>
        </p:nvGraphicFramePr>
        <p:xfrm>
          <a:off x="867188" y="1196979"/>
          <a:ext cx="7454074" cy="4883140"/>
        </p:xfrm>
        <a:graphic>
          <a:graphicData uri="http://schemas.openxmlformats.org/drawingml/2006/table">
            <a:tbl>
              <a:tblPr/>
              <a:tblGrid>
                <a:gridCol w="516426">
                  <a:extLst>
                    <a:ext uri="{9D8B030D-6E8A-4147-A177-3AD203B41FA5}">
                      <a16:colId xmlns:a16="http://schemas.microsoft.com/office/drawing/2014/main" val="3081421447"/>
                    </a:ext>
                  </a:extLst>
                </a:gridCol>
                <a:gridCol w="974389">
                  <a:extLst>
                    <a:ext uri="{9D8B030D-6E8A-4147-A177-3AD203B41FA5}">
                      <a16:colId xmlns:a16="http://schemas.microsoft.com/office/drawing/2014/main" val="3945999153"/>
                    </a:ext>
                  </a:extLst>
                </a:gridCol>
                <a:gridCol w="1325169">
                  <a:extLst>
                    <a:ext uri="{9D8B030D-6E8A-4147-A177-3AD203B41FA5}">
                      <a16:colId xmlns:a16="http://schemas.microsoft.com/office/drawing/2014/main" val="48436213"/>
                    </a:ext>
                  </a:extLst>
                </a:gridCol>
                <a:gridCol w="867206">
                  <a:extLst>
                    <a:ext uri="{9D8B030D-6E8A-4147-A177-3AD203B41FA5}">
                      <a16:colId xmlns:a16="http://schemas.microsoft.com/office/drawing/2014/main" val="421622830"/>
                    </a:ext>
                  </a:extLst>
                </a:gridCol>
                <a:gridCol w="857462">
                  <a:extLst>
                    <a:ext uri="{9D8B030D-6E8A-4147-A177-3AD203B41FA5}">
                      <a16:colId xmlns:a16="http://schemas.microsoft.com/office/drawing/2014/main" val="2034395361"/>
                    </a:ext>
                  </a:extLst>
                </a:gridCol>
                <a:gridCol w="1627229">
                  <a:extLst>
                    <a:ext uri="{9D8B030D-6E8A-4147-A177-3AD203B41FA5}">
                      <a16:colId xmlns:a16="http://schemas.microsoft.com/office/drawing/2014/main" val="3758321203"/>
                    </a:ext>
                  </a:extLst>
                </a:gridCol>
                <a:gridCol w="1286193">
                  <a:extLst>
                    <a:ext uri="{9D8B030D-6E8A-4147-A177-3AD203B41FA5}">
                      <a16:colId xmlns:a16="http://schemas.microsoft.com/office/drawing/2014/main" val="2691159865"/>
                    </a:ext>
                  </a:extLst>
                </a:gridCol>
              </a:tblGrid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No.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FIU Number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Allegation Typ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epartment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Date file clos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Outcom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Financial Implications - Rand Amount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2294203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06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1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 and/or Corruption, Irregularity and/or Non-Complianc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169550.00 (Possible corruption)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5899116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15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1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 but with recommendation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5845846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39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0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rruption, extortion and theft 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117 600 (Corruption); R1095.75 (Theft)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1503131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42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procurement irregularitie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2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726051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0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06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 but with recommendation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3209915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6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 &amp; PW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28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rruption,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4329.56 (Irregular expenditure)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9739051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S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2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rregularity and/or Non-Complianc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03732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28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S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5/15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4684976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1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6/2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n-complianc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131593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5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 &amp; PW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6/2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Other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436106.00 (Irregular Expenditure, Fraud)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6564995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09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6/2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0146813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0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Procurement Irregularities 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CA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7/3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 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3460271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7-18-0-00003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inancial Irregularitie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8/05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rregularity and/or Non-Complianc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767882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0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HR Irregularitie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8/26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n-complianc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5764943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0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8/23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ud, Corruption, Other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9611684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08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Theft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CE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8/20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n-compliance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4972860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2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Corruption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8/21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 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9041190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8-19-0-000018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DAT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8/20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rregularity 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341976"/>
                  </a:ext>
                </a:extLst>
              </a:tr>
              <a:tr h="244157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9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FS19-20-0-000017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lleged Fraud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/09/30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vestigation with no adverse findings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/a</a:t>
                      </a:r>
                    </a:p>
                  </a:txBody>
                  <a:tcPr marL="5846" marR="5846" marT="58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837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1563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Outcomes of finalised cases – All Department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9 – 30 September 19 </a:t>
            </a:r>
            <a:endParaRPr lang="en-GB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3100827"/>
              </p:ext>
            </p:extLst>
          </p:nvPr>
        </p:nvGraphicFramePr>
        <p:xfrm>
          <a:off x="611560" y="1390650"/>
          <a:ext cx="7766520" cy="3838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54986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Recommendations made &amp; current status– All Departm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 19 – 30 September 19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3174647"/>
          </a:xfrm>
        </p:spPr>
        <p:txBody>
          <a:bodyPr/>
          <a:lstStyle/>
          <a:p>
            <a:r>
              <a:rPr lang="en-ZA" dirty="0"/>
              <a:t>    21 Control/Other Recommendations mad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A9C926-8109-48D7-ADD4-12775452CF81}"/>
              </a:ext>
            </a:extLst>
          </p:cNvPr>
          <p:cNvSpPr txBox="1"/>
          <p:nvPr/>
        </p:nvSpPr>
        <p:spPr>
          <a:xfrm>
            <a:off x="3203848" y="4371399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1 Civil Recommendation was mad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AE36AD5-8B09-40C0-B304-E6DA4F5062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1780" y="1196752"/>
            <a:ext cx="4060701" cy="2664296"/>
          </a:xfrm>
        </p:spPr>
        <p:txBody>
          <a:bodyPr/>
          <a:lstStyle/>
          <a:p>
            <a:r>
              <a:rPr lang="en-US" dirty="0"/>
              <a:t>9  Disciplinary Recommendations were made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6DA3813-FF8C-45DD-BF81-691569C950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2338446"/>
              </p:ext>
            </p:extLst>
          </p:nvPr>
        </p:nvGraphicFramePr>
        <p:xfrm>
          <a:off x="135156" y="1384812"/>
          <a:ext cx="4032448" cy="2664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Chart 17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87809"/>
              </p:ext>
            </p:extLst>
          </p:nvPr>
        </p:nvGraphicFramePr>
        <p:xfrm>
          <a:off x="4831779" y="1659730"/>
          <a:ext cx="4060701" cy="2550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18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8591384"/>
              </p:ext>
            </p:extLst>
          </p:nvPr>
        </p:nvGraphicFramePr>
        <p:xfrm>
          <a:off x="2637196" y="4673231"/>
          <a:ext cx="4224933" cy="1794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Chart 13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5196419"/>
              </p:ext>
            </p:extLst>
          </p:nvPr>
        </p:nvGraphicFramePr>
        <p:xfrm>
          <a:off x="395376" y="1659729"/>
          <a:ext cx="4176624" cy="2550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525451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848725" cy="655736"/>
          </a:xfrm>
        </p:spPr>
        <p:txBody>
          <a:bodyPr/>
          <a:lstStyle/>
          <a:p>
            <a:pPr algn="ctr"/>
            <a:r>
              <a:rPr lang="en-ZA" dirty="0"/>
              <a:t>Outcome of finalised Disciplinary Action recommendations</a:t>
            </a:r>
            <a:br>
              <a:rPr lang="en-ZA" dirty="0"/>
            </a:br>
            <a:r>
              <a:rPr lang="en-ZA" dirty="0"/>
              <a:t> All Departm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/>
              <a:t>WCG-SCOPA Statistics 3rd quarter 30092013</a:t>
            </a:r>
            <a:endParaRPr lang="en-GB" dirty="0"/>
          </a:p>
        </p:txBody>
      </p:sp>
      <p:graphicFrame>
        <p:nvGraphicFramePr>
          <p:cNvPr id="7" name="Chart 6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080140"/>
              </p:ext>
            </p:extLst>
          </p:nvPr>
        </p:nvGraphicFramePr>
        <p:xfrm>
          <a:off x="611560" y="1470660"/>
          <a:ext cx="7920879" cy="4262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17902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Wf9MXAXG6E1/9B/7EXz0FWhUUork4+DhzrR7R5fBYeYQzMpmTDpxLC/MJm00QZg2dvZRXYV31rgpitB72fvkWDsgJK5ohi+54ClNXQLYvoHXD0rCJeVmWnjrA4sDDc4GADc7BPMl6/rBXWk8gTXS7BQ0LHfZFFjWGr5n9ZqzzGo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heme/theme1.xml><?xml version="1.0" encoding="utf-8"?>
<a:theme xmlns:a="http://schemas.openxmlformats.org/drawingml/2006/main" name="Template for presentations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Template for presentations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emplate for presentations</Template>
  <TotalTime>15563</TotalTime>
  <Words>1159</Words>
  <Application>Microsoft Office PowerPoint</Application>
  <PresentationFormat>On-screen Show (4:3)</PresentationFormat>
  <Paragraphs>408</Paragraphs>
  <Slides>3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1" baseType="lpstr">
      <vt:lpstr>Arial</vt:lpstr>
      <vt:lpstr>Calibri</vt:lpstr>
      <vt:lpstr>Century Gothic</vt:lpstr>
      <vt:lpstr>Times New Roman</vt:lpstr>
      <vt:lpstr>Template for presentations</vt:lpstr>
      <vt:lpstr>1_Template for presentations</vt:lpstr>
      <vt:lpstr>think-cell Slide</vt:lpstr>
      <vt:lpstr>PROVINCIAL FORENSIC SERVICE</vt:lpstr>
      <vt:lpstr>PowerPoint Presentation</vt:lpstr>
      <vt:lpstr>PowerPoint Presentation</vt:lpstr>
      <vt:lpstr>Case Load Reconciliation – All Departments</vt:lpstr>
      <vt:lpstr>Investigations in progress during Q1 and Q2 2019- 20</vt:lpstr>
      <vt:lpstr>Cases finalised 1 April 2019 - 30 September 2019</vt:lpstr>
      <vt:lpstr>Outcomes of finalised cases – All Departments</vt:lpstr>
      <vt:lpstr>Recommendations made &amp; current status– All Departments</vt:lpstr>
      <vt:lpstr>Outcome of finalised Disciplinary Action recommendations  All Departments</vt:lpstr>
      <vt:lpstr>Criminal cases – All Departments</vt:lpstr>
      <vt:lpstr>PowerPoint Presentation</vt:lpstr>
      <vt:lpstr>Outcomes of Finalised Cases</vt:lpstr>
      <vt:lpstr>PowerPoint Presentation</vt:lpstr>
      <vt:lpstr>Outcomes of Completed Cases</vt:lpstr>
      <vt:lpstr>Recommendations made</vt:lpstr>
      <vt:lpstr>Outcome of finalised Disciplinary Action recommendations</vt:lpstr>
      <vt:lpstr>Criminal cases</vt:lpstr>
      <vt:lpstr>PowerPoint Presentation</vt:lpstr>
      <vt:lpstr>Outcomes of Completed Cases</vt:lpstr>
      <vt:lpstr>Recommendations made</vt:lpstr>
      <vt:lpstr>Outcome of finalised Disciplinary Action recommendations</vt:lpstr>
      <vt:lpstr>Criminal cases</vt:lpstr>
      <vt:lpstr>PowerPoint Presentation</vt:lpstr>
      <vt:lpstr>Outcomes of Completed Cases</vt:lpstr>
      <vt:lpstr>PowerPoint Presentation</vt:lpstr>
      <vt:lpstr>Outcomes of Completed Cases</vt:lpstr>
      <vt:lpstr>Recommendations made</vt:lpstr>
      <vt:lpstr>PowerPoint Presentation</vt:lpstr>
      <vt:lpstr>Outcomes of Completed Cases</vt:lpstr>
      <vt:lpstr>Recommendations made</vt:lpstr>
      <vt:lpstr>PowerPoint Presentation</vt:lpstr>
      <vt:lpstr>Outcomes of Completed Cases </vt:lpstr>
      <vt:lpstr>Recommendations made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ENSIC Statistics</dc:title>
  <dc:creator>Henriette Robson</dc:creator>
  <cp:keywords>POTX</cp:keywords>
  <cp:lastModifiedBy>Nozipho Maholwana</cp:lastModifiedBy>
  <cp:revision>1715</cp:revision>
  <cp:lastPrinted>2013-07-17T10:57:41Z</cp:lastPrinted>
  <dcterms:created xsi:type="dcterms:W3CDTF">2013-01-11T13:18:26Z</dcterms:created>
  <dcterms:modified xsi:type="dcterms:W3CDTF">2020-04-28T10:18:14Z</dcterms:modified>
  <cp:category>CI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44da156c-9682-46ee-85f0-1e4774893c71</vt:lpwstr>
  </property>
  <property fmtid="{D5CDD505-2E9C-101B-9397-08002B2CF9AE}" pid="3" name="DeloitteMetaDataTag1">
    <vt:lpwstr>DA - HANA</vt:lpwstr>
  </property>
  <property fmtid="{D5CDD505-2E9C-101B-9397-08002B2CF9AE}" pid="4" name="DeloitteMetaDataTag2">
    <vt:lpwstr>Not Applicable</vt:lpwstr>
  </property>
  <property fmtid="{D5CDD505-2E9C-101B-9397-08002B2CF9AE}" pid="5" name="DeloitteMetaDataTag3">
    <vt:lpwstr>Not Applicable</vt:lpwstr>
  </property>
  <property fmtid="{D5CDD505-2E9C-101B-9397-08002B2CF9AE}" pid="6" name="DeloitteDocumentType">
    <vt:lpwstr>General</vt:lpwstr>
  </property>
  <property fmtid="{D5CDD505-2E9C-101B-9397-08002B2CF9AE}" pid="7" name="DeloitteMetaDataTag4">
    <vt:lpwstr>2014</vt:lpwstr>
  </property>
  <property fmtid="{D5CDD505-2E9C-101B-9397-08002B2CF9AE}" pid="8" name="DeloitteDivision">
    <vt:lpwstr>None</vt:lpwstr>
  </property>
  <property fmtid="{D5CDD505-2E9C-101B-9397-08002B2CF9AE}" pid="9" name="DeloitteBusinessUnit">
    <vt:lpwstr>None</vt:lpwstr>
  </property>
  <property fmtid="{D5CDD505-2E9C-101B-9397-08002B2CF9AE}" pid="10" name="DeloitteCompany">
    <vt:lpwstr>DeloitteZA</vt:lpwstr>
  </property>
  <property fmtid="{D5CDD505-2E9C-101B-9397-08002B2CF9AE}" pid="11" name="DeloitteCountry">
    <vt:lpwstr>SouthAfrica</vt:lpwstr>
  </property>
  <property fmtid="{D5CDD505-2E9C-101B-9397-08002B2CF9AE}" pid="12" name="DeloitteServiceLine">
    <vt:lpwstr>None</vt:lpwstr>
  </property>
  <property fmtid="{D5CDD505-2E9C-101B-9397-08002B2CF9AE}" pid="13" name="DeloitteSecurityClassification">
    <vt:lpwstr>Internal</vt:lpwstr>
  </property>
  <property fmtid="{D5CDD505-2E9C-101B-9397-08002B2CF9AE}" pid="14" name="DeloitteSensitivity">
    <vt:lpwstr>FirmPersonalAndConfidential</vt:lpwstr>
  </property>
</Properties>
</file>